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5"/>
  </p:notesMasterIdLst>
  <p:sldIdLst>
    <p:sldId id="256" r:id="rId2"/>
    <p:sldId id="268" r:id="rId3"/>
    <p:sldId id="261" r:id="rId4"/>
  </p:sldIdLst>
  <p:sldSz cx="12192000" cy="6858000"/>
  <p:notesSz cx="6858000" cy="9144000"/>
  <p:custDataLst>
    <p:tags r:id="rId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a Vida Villanueva" initials="MVV" lastIdx="1" clrIdx="0"/>
  <p:cmAuthor id="7" name="1206988966@qq.com" initials="1" lastIdx="1" clrIdx="2"/>
  <p:cmAuthor id="1" name="杨 伟洲" initials="杨" lastIdx="1" clrIdx="0"/>
  <p:cmAuthor id="8" name="姜伟光" initials="姜" lastIdx="1" clrIdx="0"/>
  <p:cmAuthor id="2" name="Fish Zheng" initials="FZ" lastIdx="1" clrIdx="1"/>
  <p:cmAuthor id="3" name="Author" initials="A" lastIdx="0" clrIdx="3"/>
  <p:cmAuthor id="4" name="Administrator" initials="A" lastIdx="4" clrIdx="3"/>
  <p:cmAuthor id="5" name="宋洁然" initials="宋" lastIdx="2" clrIdx="1"/>
  <p:cmAuthor id="6" name="ming qiu" initials="m" lastIdx="1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E76"/>
    <a:srgbClr val="FFC300"/>
    <a:srgbClr val="402373"/>
    <a:srgbClr val="455CF1"/>
    <a:srgbClr val="6B79E8"/>
    <a:srgbClr val="6BAEE6"/>
    <a:srgbClr val="F2720E"/>
    <a:srgbClr val="FF9D13"/>
    <a:srgbClr val="6B75E8"/>
    <a:srgbClr val="6BB2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6" autoAdjust="0"/>
    <p:restoredTop sz="96160" autoAdjust="0"/>
  </p:normalViewPr>
  <p:slideViewPr>
    <p:cSldViewPr snapToGrid="0">
      <p:cViewPr varScale="1">
        <p:scale>
          <a:sx n="83" d="100"/>
          <a:sy n="83" d="100"/>
        </p:scale>
        <p:origin x="686" y="7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93" d="100"/>
          <a:sy n="93" d="100"/>
        </p:scale>
        <p:origin x="3302" y="91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-12-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6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封面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473159" y="3627120"/>
            <a:ext cx="8894523" cy="558799"/>
          </a:xfrm>
        </p:spPr>
        <p:txBody>
          <a:bodyPr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0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000" b="0" i="0" u="none" strike="noStrike" kern="1200" cap="none" spc="300" normalizeH="0" baseline="0" noProof="0" dirty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SPEAKER NAME AND TITLE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473159" y="2771794"/>
            <a:ext cx="8894523" cy="779126"/>
          </a:xfrm>
        </p:spPr>
        <p:txBody>
          <a:bodyPr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4000" b="1" spc="30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4400" b="1" i="0" u="none" strike="noStrike" kern="1200" cap="none" spc="30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+mn-cs"/>
              </a:rPr>
              <a:t>SPEECH THEME HERE</a:t>
            </a:r>
            <a:endParaRPr kumimoji="0" lang="zh-CN" altLang="en-US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j-ea"/>
              <a:cs typeface="+mn-cs"/>
            </a:endParaRPr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5400" y="1960955"/>
            <a:ext cx="4407673" cy="279192"/>
          </a:xfrm>
          <a:prstGeom prst="rect">
            <a:avLst/>
          </a:prstGeom>
        </p:spPr>
      </p:pic>
      <p:sp>
        <p:nvSpPr>
          <p:cNvPr id="5" name="文本框 4"/>
          <p:cNvSpPr txBox="1"/>
          <p:nvPr userDrawn="1"/>
        </p:nvSpPr>
        <p:spPr>
          <a:xfrm>
            <a:off x="4076380" y="5615940"/>
            <a:ext cx="34966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400" dirty="0" smtClean="0"/>
              <a:t>https://2021.postgresconf.cn</a:t>
            </a:r>
            <a:endParaRPr lang="zh-CN" altLang="en-US" sz="1400" dirty="0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9269" y="1914667"/>
            <a:ext cx="1148897" cy="358319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6008481" y="2092521"/>
            <a:ext cx="5419185" cy="895350"/>
          </a:xfrm>
        </p:spPr>
        <p:txBody>
          <a:bodyPr anchor="b">
            <a:normAutofit/>
          </a:bodyPr>
          <a:lstStyle>
            <a:lvl1pPr algn="l">
              <a:defRPr sz="3200" b="1" baseline="0">
                <a:solidFill>
                  <a:schemeClr val="tx1"/>
                </a:solidFill>
              </a:defRPr>
            </a:lvl1pPr>
          </a:lstStyle>
          <a:p>
            <a:r>
              <a:rPr lang="en-US" altLang="zh-CN" dirty="0" smtClean="0"/>
              <a:t>Title her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6008480" y="3045851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80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ontent here</a:t>
            </a:r>
            <a:endParaRPr lang="en-US" dirty="0"/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158673" cy="68580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3082401" y="3946260"/>
            <a:ext cx="5419185" cy="895350"/>
          </a:xfrm>
        </p:spPr>
        <p:txBody>
          <a:bodyPr anchor="b">
            <a:normAutofit/>
          </a:bodyPr>
          <a:lstStyle>
            <a:lvl1pPr algn="l">
              <a:defRPr sz="3200" b="1" baseline="0">
                <a:solidFill>
                  <a:schemeClr val="tx1"/>
                </a:solidFill>
              </a:defRPr>
            </a:lvl1pPr>
          </a:lstStyle>
          <a:p>
            <a:r>
              <a:rPr lang="en-US" altLang="zh-CN" dirty="0" smtClean="0"/>
              <a:t>Title her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3082400" y="489959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80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ontent here</a:t>
            </a:r>
            <a:endParaRPr lang="en-US" dirty="0"/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939"/>
            <a:ext cx="12192000" cy="3560064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页版式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1008529" y="968752"/>
            <a:ext cx="10239936" cy="64391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altLang="zh-CN" dirty="0" smtClean="0"/>
              <a:t>Title her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 hasCustomPrompt="1"/>
          </p:nvPr>
        </p:nvSpPr>
        <p:spPr>
          <a:xfrm>
            <a:off x="1008530" y="1820487"/>
            <a:ext cx="10239936" cy="3574473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 smtClean="0"/>
              <a:t>Content here</a:t>
            </a:r>
            <a:endParaRPr lang="zh-CN" altLang="en-US" dirty="0"/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6958" y="6212118"/>
            <a:ext cx="1565910" cy="356594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54459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785" y="6307268"/>
            <a:ext cx="3857456" cy="244340"/>
          </a:xfrm>
          <a:prstGeom prst="rect">
            <a:avLst/>
          </a:prstGeom>
        </p:spPr>
      </p:pic>
      <p:cxnSp>
        <p:nvCxnSpPr>
          <p:cNvPr id="11" name="直接连接符 10"/>
          <p:cNvCxnSpPr/>
          <p:nvPr userDrawn="1"/>
        </p:nvCxnSpPr>
        <p:spPr>
          <a:xfrm>
            <a:off x="-38100" y="6012180"/>
            <a:ext cx="122682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4671" y="6270144"/>
            <a:ext cx="967150" cy="30163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042597" y="2636520"/>
            <a:ext cx="5461601" cy="822960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altLang="zh-CN" dirty="0" smtClean="0"/>
              <a:t>THANKS</a:t>
            </a:r>
            <a:endParaRPr lang="zh-CN" altLang="en-US" dirty="0"/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1042596" y="3472928"/>
            <a:ext cx="5461601" cy="52838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8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 smtClean="0"/>
              <a:t>CONTACT INFORMATION</a:t>
            </a:r>
            <a:endParaRPr lang="en-US" altLang="zh-CN" dirty="0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7398" y="4815766"/>
            <a:ext cx="3857456" cy="244340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3011" y="4748751"/>
            <a:ext cx="1565910" cy="356594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1111" y="4760474"/>
            <a:ext cx="1048043" cy="32686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5210" y="-13335"/>
            <a:ext cx="8467090" cy="1028700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401732" y="6240463"/>
            <a:ext cx="1388536" cy="206381"/>
          </a:xfrm>
        </p:spPr>
        <p:txBody>
          <a:bodyPr/>
          <a:lstStyle/>
          <a:p>
            <a:fld id="{6489D9C7-5DC6-4263-87FF-7C99F6FB63C3}" type="datetime1">
              <a:rPr lang="zh-CN" altLang="en-US" smtClean="0"/>
              <a:t>2021-12-1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en-US" altLang="zh-CN"/>
              <a:t>www.pgfans.cn</a:t>
            </a:r>
            <a:endParaRPr lang="zh-C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4.xml"/><Relationship Id="rId7" Type="http://schemas.openxmlformats.org/officeDocument/2006/relationships/image" Target="../media/image8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" name="think-cell Slide" r:id="rId7" imgW="9525" imgH="9525" progId="TCLayout.ActiveDocument.1">
                  <p:embed/>
                </p:oleObj>
              </mc:Choice>
              <mc:Fallback>
                <p:oleObj name="think-cell Slide" r:id="rId7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806450" y="2698115"/>
            <a:ext cx="10619105" cy="14198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sz="3600" b="1" spc="300" dirty="0" smtClean="0">
                <a:latin typeface="+mj-lt"/>
              </a:rPr>
              <a:t>PostgreSQL中国分支版本（ivorySQL）项目启动发布会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1479985" y="4117975"/>
            <a:ext cx="890572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2000" spc="3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丁治明</a:t>
            </a:r>
            <a:endParaRPr lang="en-US" altLang="zh-CN" sz="2000" spc="3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>
              <a:lnSpc>
                <a:spcPct val="120000"/>
              </a:lnSpc>
            </a:pPr>
            <a:r>
              <a:rPr lang="en-US" altLang="zh-CN" sz="2000" spc="3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中科院时空数据科学研究中心</a:t>
            </a:r>
            <a:r>
              <a:rPr lang="en-US" altLang="zh-CN" sz="2000" spc="3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（STDMS）主任</a:t>
            </a:r>
            <a:endParaRPr lang="en-US" altLang="zh-CN" sz="2000" spc="3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>
              <a:lnSpc>
                <a:spcPct val="120000"/>
              </a:lnSpc>
            </a:pPr>
            <a:r>
              <a:rPr lang="en-US" altLang="zh-CN" sz="2000" spc="3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中科院软件所研究员</a:t>
            </a:r>
            <a:endParaRPr lang="en-US" altLang="zh-CN" sz="2000" spc="3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>
              <a:lnSpc>
                <a:spcPct val="120000"/>
              </a:lnSpc>
            </a:pPr>
            <a:r>
              <a:rPr lang="en-US" altLang="zh-CN" sz="2000" spc="3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中国开源软件推进联盟PostgreSQL分会会长</a:t>
            </a:r>
            <a:endParaRPr lang="en-US" altLang="zh-CN" sz="2000" spc="3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/>
          <p:cNvSpPr txBox="1"/>
          <p:nvPr/>
        </p:nvSpPr>
        <p:spPr>
          <a:xfrm>
            <a:off x="651510" y="581025"/>
            <a:ext cx="6134100" cy="607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800" b="1" dirty="0">
                <a:latin typeface="+mj-lt"/>
                <a:ea typeface="+mj-ea"/>
                <a:sym typeface="+mn-ea"/>
              </a:rPr>
              <a:t>ivorySQL</a:t>
            </a:r>
            <a:r>
              <a:rPr lang="zh-CN" altLang="en-US" sz="2800" b="1" dirty="0">
                <a:latin typeface="+mj-lt"/>
                <a:ea typeface="+mj-ea"/>
                <a:sym typeface="+mn-ea"/>
              </a:rPr>
              <a:t>简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9250" y="1061085"/>
            <a:ext cx="8953500" cy="473646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0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2432442" y="2100770"/>
            <a:ext cx="5147511" cy="9979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5400" b="1" dirty="0" smtClean="0">
                <a:latin typeface="+mj-lt"/>
                <a:ea typeface="+mj-ea"/>
              </a:rPr>
              <a:t>THANK YOU</a:t>
            </a:r>
            <a:endParaRPr lang="zh-CN" altLang="en-US" sz="5400" b="1" dirty="0">
              <a:latin typeface="+mj-lt"/>
              <a:ea typeface="+mj-ea"/>
            </a:endParaRPr>
          </a:p>
        </p:txBody>
      </p:sp>
      <p:sp>
        <p:nvSpPr>
          <p:cNvPr id="11" name="内容占位符 7"/>
          <p:cNvSpPr txBox="1"/>
          <p:nvPr/>
        </p:nvSpPr>
        <p:spPr>
          <a:xfrm>
            <a:off x="2432685" y="3106420"/>
            <a:ext cx="4865370" cy="5530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600" dirty="0">
                <a:sym typeface="+mn-ea"/>
              </a:rPr>
              <a:t>https://www.postgresqlchina.com/train/auth_home</a:t>
            </a:r>
            <a:endParaRPr lang="en-US" altLang="zh-CN" sz="1600" dirty="0">
              <a:solidFill>
                <a:schemeClr val="tx1">
                  <a:lumMod val="65000"/>
                  <a:lumOff val="35000"/>
                </a:schemeClr>
              </a:solidFill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22870" y="2100580"/>
            <a:ext cx="2099310" cy="212598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2dc2aa9c-ce34-4e04-ae3b-42745caf792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封面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2F2F75"/>
      </a:accent1>
      <a:accent2>
        <a:srgbClr val="ED1E81"/>
      </a:accent2>
      <a:accent3>
        <a:srgbClr val="FF9A10"/>
      </a:accent3>
      <a:accent4>
        <a:srgbClr val="EE750F"/>
      </a:accent4>
      <a:accent5>
        <a:srgbClr val="68ADE5"/>
      </a:accent5>
      <a:accent6>
        <a:srgbClr val="6B77E7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F2F75"/>
    </a:accent1>
    <a:accent2>
      <a:srgbClr val="ED1E81"/>
    </a:accent2>
    <a:accent3>
      <a:srgbClr val="FF9A10"/>
    </a:accent3>
    <a:accent4>
      <a:srgbClr val="EE750F"/>
    </a:accent4>
    <a:accent5>
      <a:srgbClr val="68ADE5"/>
    </a:accent5>
    <a:accent6>
      <a:srgbClr val="6B77E7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F2F75"/>
    </a:accent1>
    <a:accent2>
      <a:srgbClr val="ED1E81"/>
    </a:accent2>
    <a:accent3>
      <a:srgbClr val="FF9A10"/>
    </a:accent3>
    <a:accent4>
      <a:srgbClr val="EE750F"/>
    </a:accent4>
    <a:accent5>
      <a:srgbClr val="68ADE5"/>
    </a:accent5>
    <a:accent6>
      <a:srgbClr val="6B77E7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7</TotalTime>
  <Words>24</Words>
  <Application>Microsoft Office PowerPoint</Application>
  <PresentationFormat>宽屏</PresentationFormat>
  <Paragraphs>9</Paragraphs>
  <Slides>3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</vt:i4>
      </vt:variant>
    </vt:vector>
  </HeadingPairs>
  <TitlesOfParts>
    <vt:vector size="9" baseType="lpstr">
      <vt:lpstr>宋体</vt:lpstr>
      <vt:lpstr>微软雅黑</vt:lpstr>
      <vt:lpstr>Arial</vt:lpstr>
      <vt:lpstr>Calibri</vt:lpstr>
      <vt:lpstr>封面</vt:lpstr>
      <vt:lpstr>think-cell Slide</vt:lpstr>
      <vt:lpstr>PowerPoint 演示文稿</vt:lpstr>
      <vt:lpstr>PowerPoint 演示文稿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类延良</cp:lastModifiedBy>
  <cp:revision>131</cp:revision>
  <cp:lastPrinted>2019-04-29T16:00:00Z</cp:lastPrinted>
  <dcterms:created xsi:type="dcterms:W3CDTF">2019-04-29T16:00:00Z</dcterms:created>
  <dcterms:modified xsi:type="dcterms:W3CDTF">2021-12-13T00:53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12E0076C7444FCB424F99326A71A12</vt:lpwstr>
  </property>
  <property fmtid="{D5CDD505-2E9C-101B-9397-08002B2CF9AE}" pid="4" name="KSOProductBuildVer">
    <vt:lpwstr>2052-11.1.0.11115</vt:lpwstr>
  </property>
</Properties>
</file>